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72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3931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8289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>
            <a:noAutofit/>
          </a:bodyPr>
          <a:lstStyle/>
          <a:p>
            <a:r>
              <a:rPr lang="en-US"/>
              <a:t>CREO PARAMETRIC – PART AND ASSEMBLY MODELING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00" y="1211454"/>
            <a:ext cx="10560050" cy="466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800" dirty="0"/>
              <a:t>Powerful, parametric design capabilities to create  complex geometry and capture design intent</a:t>
            </a:r>
          </a:p>
        </p:txBody>
      </p:sp>
      <p:pic>
        <p:nvPicPr>
          <p:cNvPr id="13" name="Picture 12" descr="vrodrt2.jp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8606493" y="3920515"/>
            <a:ext cx="3358382" cy="2490797"/>
          </a:xfrm>
          <a:prstGeom prst="rect">
            <a:avLst/>
          </a:prstGeom>
        </p:spPr>
      </p:pic>
      <p:pic>
        <p:nvPicPr>
          <p:cNvPr id="14" name="Picture 2" descr="D:\000 - CAD Sales Enablement\000 - FY16 CAD Core Plays\FY16 Direct Package Upgrade Play\images\c51000007copy.jpeg"/>
          <p:cNvPicPr>
            <a:picLocks noChangeAspect="1" noChangeArrowheads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5" t="4245" r="4692" b="3027"/>
          <a:stretch/>
        </p:blipFill>
        <p:spPr bwMode="auto">
          <a:xfrm>
            <a:off x="6830591" y="1558982"/>
            <a:ext cx="3357832" cy="2777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BAA9FD8-2071-4E17-ABDC-5F4B10D82FDA}"/>
              </a:ext>
            </a:extLst>
          </p:cNvPr>
          <p:cNvSpPr/>
          <p:nvPr/>
        </p:nvSpPr>
        <p:spPr>
          <a:xfrm>
            <a:off x="499301" y="1858206"/>
            <a:ext cx="1510147" cy="52465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A06F4B-C97B-409B-B44A-6FBF5640A6AB}"/>
              </a:ext>
            </a:extLst>
          </p:cNvPr>
          <p:cNvSpPr/>
          <p:nvPr/>
        </p:nvSpPr>
        <p:spPr>
          <a:xfrm>
            <a:off x="2150156" y="1858206"/>
            <a:ext cx="5406057" cy="524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Customers that require the power and flexibility to model any geometry regardless of shape, size or complexity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41E873D-F55C-434E-ACBD-6C71A1DC1D1C}"/>
              </a:ext>
            </a:extLst>
          </p:cNvPr>
          <p:cNvSpPr/>
          <p:nvPr/>
        </p:nvSpPr>
        <p:spPr>
          <a:xfrm>
            <a:off x="499301" y="2463993"/>
            <a:ext cx="1510147" cy="96789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40147C-C150-44C2-BCF2-370766431AD2}"/>
              </a:ext>
            </a:extLst>
          </p:cNvPr>
          <p:cNvSpPr/>
          <p:nvPr/>
        </p:nvSpPr>
        <p:spPr>
          <a:xfrm>
            <a:off x="2150156" y="2463993"/>
            <a:ext cx="5954573" cy="9678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cos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velop and define new marke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8B20DAC-282C-4C7B-AFBE-06C574CB0D61}"/>
              </a:ext>
            </a:extLst>
          </p:cNvPr>
          <p:cNvSpPr/>
          <p:nvPr/>
        </p:nvSpPr>
        <p:spPr>
          <a:xfrm>
            <a:off x="499301" y="3520073"/>
            <a:ext cx="1510147" cy="60079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CAAD797-AAB3-4751-A8A9-11AB258FDBD0}"/>
              </a:ext>
            </a:extLst>
          </p:cNvPr>
          <p:cNvSpPr/>
          <p:nvPr/>
        </p:nvSpPr>
        <p:spPr>
          <a:xfrm>
            <a:off x="2150156" y="3520073"/>
            <a:ext cx="5954573" cy="6007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3D part modeling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3D assembly modeling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0EDEBF4-8A6B-4FC0-BEEB-9F57A61ACF1A}"/>
              </a:ext>
            </a:extLst>
          </p:cNvPr>
          <p:cNvSpPr/>
          <p:nvPr/>
        </p:nvSpPr>
        <p:spPr>
          <a:xfrm>
            <a:off x="499301" y="4192725"/>
            <a:ext cx="1510147" cy="225994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359341C-A7F4-460C-89D1-45C7BC8B4015}"/>
              </a:ext>
            </a:extLst>
          </p:cNvPr>
          <p:cNvSpPr/>
          <p:nvPr/>
        </p:nvSpPr>
        <p:spPr>
          <a:xfrm>
            <a:off x="2150156" y="4192725"/>
            <a:ext cx="5954573" cy="22599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ate precise geometry, regardless of model complexity without compromise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apture engineering requirements using feature parameters, constraints and relation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asily create and manage complex assemblies using tools to manage and improve system performance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erform global clearance and interference studies using static components and real-time collision detection (component drag)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eamless integration with PTC Solutions to facilitate concurrent engineering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91C1FA2-9D4F-4762-8420-38EF7654E6D8}"/>
              </a:ext>
            </a:extLst>
          </p:cNvPr>
          <p:cNvCxnSpPr>
            <a:cxnSpLocks/>
          </p:cNvCxnSpPr>
          <p:nvPr/>
        </p:nvCxnSpPr>
        <p:spPr>
          <a:xfrm>
            <a:off x="2106433" y="1858206"/>
            <a:ext cx="0" cy="52465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EFDF213-7FDF-426C-BFE8-6AA955626647}"/>
              </a:ext>
            </a:extLst>
          </p:cNvPr>
          <p:cNvCxnSpPr>
            <a:cxnSpLocks/>
          </p:cNvCxnSpPr>
          <p:nvPr/>
        </p:nvCxnSpPr>
        <p:spPr>
          <a:xfrm>
            <a:off x="2106433" y="2463992"/>
            <a:ext cx="0" cy="96789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E3B12B4-F4FB-4313-92E7-D64FCA9FE5E2}"/>
              </a:ext>
            </a:extLst>
          </p:cNvPr>
          <p:cNvCxnSpPr>
            <a:cxnSpLocks/>
          </p:cNvCxnSpPr>
          <p:nvPr/>
        </p:nvCxnSpPr>
        <p:spPr>
          <a:xfrm>
            <a:off x="2106433" y="3520072"/>
            <a:ext cx="0" cy="60079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C908360-D49C-4A40-93C3-7A1D414C1E09}"/>
              </a:ext>
            </a:extLst>
          </p:cNvPr>
          <p:cNvCxnSpPr>
            <a:cxnSpLocks/>
          </p:cNvCxnSpPr>
          <p:nvPr/>
        </p:nvCxnSpPr>
        <p:spPr>
          <a:xfrm>
            <a:off x="2106433" y="4192725"/>
            <a:ext cx="0" cy="225994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5666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UBLISH_MODE" val="2"/>
  <p:tag name="ARTICULATE_SOURCE_IMAGE" val="D:\Users\avecchi\AppData\Local\Temp\articulate\presenter\imgtemp\mkamEDtu_files\slide0001_image001.jpg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130</Words>
  <Application>Microsoft Office PowerPoint</Application>
  <PresentationFormat>Widescreen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Narrow</vt:lpstr>
      <vt:lpstr>PTCRaleway</vt:lpstr>
      <vt:lpstr>PTCRaleway Black</vt:lpstr>
      <vt:lpstr>Wingdings</vt:lpstr>
      <vt:lpstr>Arial</vt:lpstr>
      <vt:lpstr>PTC PowerPoint Template</vt:lpstr>
      <vt:lpstr>think-cell Slide</vt:lpstr>
      <vt:lpstr>CREO PARAMETRIC – PART AND ASSEMBLY MODEL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6T09:4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